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9"/>
  </p:notesMasterIdLst>
  <p:handoutMasterIdLst>
    <p:handoutMasterId r:id="rId220"/>
  </p:handoutMasterIdLst>
  <p:sldIdLst>
    <p:sldId id="2147469997" r:id="rId16"/>
    <p:sldId id="2134805319" r:id="rId17"/>
    <p:sldId id="361" r:id="rId18"/>
    <p:sldId id="565" r:id="rId19"/>
    <p:sldId id="331" r:id="rId20"/>
    <p:sldId id="2147469893" r:id="rId21"/>
    <p:sldId id="2076137603" r:id="rId22"/>
    <p:sldId id="2147469889" r:id="rId23"/>
    <p:sldId id="2147469890" r:id="rId24"/>
    <p:sldId id="2147469891" r:id="rId25"/>
    <p:sldId id="2134805339" r:id="rId26"/>
    <p:sldId id="2134805401" r:id="rId27"/>
    <p:sldId id="2134805361" r:id="rId28"/>
    <p:sldId id="2147469912" r:id="rId29"/>
    <p:sldId id="2147469922" r:id="rId30"/>
    <p:sldId id="2134805395" r:id="rId31"/>
    <p:sldId id="2147469916" r:id="rId32"/>
    <p:sldId id="2147469913" r:id="rId33"/>
    <p:sldId id="2147469914" r:id="rId34"/>
    <p:sldId id="2147469915" r:id="rId35"/>
    <p:sldId id="2147469981" r:id="rId36"/>
    <p:sldId id="2147469917" r:id="rId37"/>
    <p:sldId id="2147469918" r:id="rId38"/>
    <p:sldId id="2134805351" r:id="rId39"/>
    <p:sldId id="2134805352" r:id="rId40"/>
    <p:sldId id="2147469919" r:id="rId41"/>
    <p:sldId id="2134805356" r:id="rId42"/>
    <p:sldId id="2147469920" r:id="rId43"/>
    <p:sldId id="2147469921" r:id="rId44"/>
    <p:sldId id="2134805357" r:id="rId45"/>
    <p:sldId id="2361" r:id="rId46"/>
    <p:sldId id="2134805399" r:id="rId47"/>
    <p:sldId id="2134805391" r:id="rId48"/>
    <p:sldId id="2134805336" r:id="rId49"/>
    <p:sldId id="2134805397" r:id="rId50"/>
    <p:sldId id="2134805398" r:id="rId51"/>
    <p:sldId id="2147469902" r:id="rId52"/>
    <p:sldId id="2147469900" r:id="rId53"/>
    <p:sldId id="2147469903" r:id="rId54"/>
    <p:sldId id="2147469974" r:id="rId55"/>
    <p:sldId id="2147469925" r:id="rId56"/>
    <p:sldId id="2134805392" r:id="rId57"/>
    <p:sldId id="2147469924" r:id="rId58"/>
    <p:sldId id="452" r:id="rId59"/>
    <p:sldId id="2134805322" r:id="rId60"/>
    <p:sldId id="2357" r:id="rId61"/>
    <p:sldId id="2358" r:id="rId62"/>
    <p:sldId id="2147469928" r:id="rId63"/>
    <p:sldId id="2147469929" r:id="rId64"/>
    <p:sldId id="2134805371" r:id="rId65"/>
    <p:sldId id="2134805372" r:id="rId66"/>
    <p:sldId id="2134805373" r:id="rId67"/>
    <p:sldId id="2134805374" r:id="rId68"/>
    <p:sldId id="2134805375" r:id="rId69"/>
    <p:sldId id="2134805376" r:id="rId70"/>
    <p:sldId id="2134805377" r:id="rId71"/>
    <p:sldId id="2134805378" r:id="rId72"/>
    <p:sldId id="2147469933" r:id="rId73"/>
    <p:sldId id="2147469935" r:id="rId74"/>
    <p:sldId id="2147469938" r:id="rId75"/>
    <p:sldId id="376" r:id="rId76"/>
    <p:sldId id="2147469926" r:id="rId77"/>
    <p:sldId id="2134805321" r:id="rId78"/>
    <p:sldId id="2147469944" r:id="rId79"/>
    <p:sldId id="2147469939" r:id="rId80"/>
    <p:sldId id="2147469940" r:id="rId81"/>
    <p:sldId id="2147469941" r:id="rId82"/>
    <p:sldId id="2147469942" r:id="rId83"/>
    <p:sldId id="2147469943" r:id="rId84"/>
    <p:sldId id="2147469955" r:id="rId85"/>
    <p:sldId id="2147469896" r:id="rId86"/>
    <p:sldId id="2147469980" r:id="rId87"/>
    <p:sldId id="2147469961" r:id="rId88"/>
    <p:sldId id="2147469962" r:id="rId89"/>
    <p:sldId id="2147469963" r:id="rId90"/>
    <p:sldId id="2980" r:id="rId91"/>
    <p:sldId id="8747" r:id="rId92"/>
    <p:sldId id="8748" r:id="rId93"/>
    <p:sldId id="2147469972" r:id="rId94"/>
    <p:sldId id="2134805340" r:id="rId95"/>
    <p:sldId id="2147469898" r:id="rId96"/>
    <p:sldId id="2134805387" r:id="rId97"/>
    <p:sldId id="2134805380" r:id="rId98"/>
    <p:sldId id="2147469968" r:id="rId99"/>
    <p:sldId id="2147469975" r:id="rId100"/>
    <p:sldId id="2147469969" r:id="rId101"/>
    <p:sldId id="2147469978" r:id="rId102"/>
    <p:sldId id="2147469989" r:id="rId103"/>
    <p:sldId id="2147469977" r:id="rId104"/>
    <p:sldId id="2147469979" r:id="rId105"/>
    <p:sldId id="2147469983" r:id="rId106"/>
    <p:sldId id="2147469984" r:id="rId107"/>
    <p:sldId id="2147469985" r:id="rId108"/>
    <p:sldId id="2147469988" r:id="rId109"/>
    <p:sldId id="2147469986" r:id="rId110"/>
    <p:sldId id="2147469987" r:id="rId111"/>
    <p:sldId id="2147469990" r:id="rId112"/>
    <p:sldId id="2147469991" r:id="rId113"/>
    <p:sldId id="2147469982" r:id="rId114"/>
    <p:sldId id="2147469894" r:id="rId115"/>
    <p:sldId id="2147469904" r:id="rId116"/>
    <p:sldId id="2147469957" r:id="rId117"/>
    <p:sldId id="2147469956" r:id="rId118"/>
    <p:sldId id="2147469958" r:id="rId119"/>
    <p:sldId id="2147470004" r:id="rId120"/>
    <p:sldId id="2147470005" r:id="rId121"/>
    <p:sldId id="2147470007" r:id="rId122"/>
    <p:sldId id="2147470008" r:id="rId123"/>
    <p:sldId id="2147470009" r:id="rId124"/>
    <p:sldId id="2147470010" r:id="rId125"/>
    <p:sldId id="2147470011" r:id="rId126"/>
    <p:sldId id="2147470012" r:id="rId127"/>
    <p:sldId id="2147470013" r:id="rId128"/>
    <p:sldId id="2134805471" r:id="rId129"/>
    <p:sldId id="2147470006" r:id="rId130"/>
    <p:sldId id="2147470015" r:id="rId131"/>
    <p:sldId id="2134805407" r:id="rId132"/>
    <p:sldId id="2134805404" r:id="rId133"/>
    <p:sldId id="2134805408" r:id="rId134"/>
    <p:sldId id="2134805470" r:id="rId135"/>
    <p:sldId id="2134805493" r:id="rId136"/>
    <p:sldId id="2147469998" r:id="rId137"/>
    <p:sldId id="2134805427" r:id="rId138"/>
    <p:sldId id="2134805428" r:id="rId139"/>
    <p:sldId id="2134805429" r:id="rId140"/>
    <p:sldId id="2147470002" r:id="rId141"/>
    <p:sldId id="2134805500" r:id="rId142"/>
    <p:sldId id="2134805501" r:id="rId143"/>
    <p:sldId id="2134805440" r:id="rId144"/>
    <p:sldId id="2134805439" r:id="rId145"/>
    <p:sldId id="2134805441" r:id="rId146"/>
    <p:sldId id="2134805442" r:id="rId147"/>
    <p:sldId id="2134805434" r:id="rId148"/>
    <p:sldId id="2134805445" r:id="rId149"/>
    <p:sldId id="2134805473" r:id="rId150"/>
    <p:sldId id="2134805475" r:id="rId151"/>
    <p:sldId id="2134805477" r:id="rId152"/>
    <p:sldId id="2134805436" r:id="rId153"/>
    <p:sldId id="2134805478" r:id="rId154"/>
    <p:sldId id="2134805479" r:id="rId155"/>
    <p:sldId id="2134805438" r:id="rId156"/>
    <p:sldId id="2134805481" r:id="rId157"/>
    <p:sldId id="2134805455" r:id="rId158"/>
    <p:sldId id="2134805485" r:id="rId159"/>
    <p:sldId id="2134805486" r:id="rId160"/>
    <p:sldId id="2134805487" r:id="rId161"/>
    <p:sldId id="2134805488" r:id="rId162"/>
    <p:sldId id="2134805457" r:id="rId163"/>
    <p:sldId id="2134805458" r:id="rId164"/>
    <p:sldId id="2147470016" r:id="rId165"/>
    <p:sldId id="2147470017" r:id="rId166"/>
    <p:sldId id="2134805454" r:id="rId167"/>
    <p:sldId id="2147469945" r:id="rId168"/>
    <p:sldId id="2147469947" r:id="rId169"/>
    <p:sldId id="8706" r:id="rId170"/>
    <p:sldId id="8685" r:id="rId171"/>
    <p:sldId id="8689" r:id="rId172"/>
    <p:sldId id="8692" r:id="rId173"/>
    <p:sldId id="8693" r:id="rId174"/>
    <p:sldId id="8686" r:id="rId175"/>
    <p:sldId id="8694" r:id="rId176"/>
    <p:sldId id="8710" r:id="rId177"/>
    <p:sldId id="2134805393" r:id="rId178"/>
    <p:sldId id="8696" r:id="rId179"/>
    <p:sldId id="2147469948" r:id="rId180"/>
    <p:sldId id="2134805400" r:id="rId181"/>
    <p:sldId id="8697" r:id="rId182"/>
    <p:sldId id="10056" r:id="rId183"/>
    <p:sldId id="10074" r:id="rId184"/>
    <p:sldId id="2134805394" r:id="rId185"/>
    <p:sldId id="10057" r:id="rId186"/>
    <p:sldId id="10060" r:id="rId187"/>
    <p:sldId id="2147469949" r:id="rId188"/>
    <p:sldId id="2147469950" r:id="rId189"/>
    <p:sldId id="10014" r:id="rId190"/>
    <p:sldId id="10073" r:id="rId191"/>
    <p:sldId id="2147469951" r:id="rId192"/>
    <p:sldId id="8688" r:id="rId193"/>
    <p:sldId id="2134805396" r:id="rId194"/>
    <p:sldId id="2147470003" r:id="rId195"/>
    <p:sldId id="2147469895" r:id="rId196"/>
    <p:sldId id="2147470014" r:id="rId197"/>
    <p:sldId id="2134805414" r:id="rId198"/>
    <p:sldId id="2134805415" r:id="rId199"/>
    <p:sldId id="2134805419" r:id="rId200"/>
    <p:sldId id="2134805416" r:id="rId201"/>
    <p:sldId id="2134805417" r:id="rId202"/>
    <p:sldId id="2134805418" r:id="rId203"/>
    <p:sldId id="2134805420" r:id="rId204"/>
    <p:sldId id="2134805421" r:id="rId205"/>
    <p:sldId id="2147469999" r:id="rId206"/>
    <p:sldId id="2134805496" r:id="rId207"/>
    <p:sldId id="2134805497" r:id="rId208"/>
    <p:sldId id="2134805498" r:id="rId209"/>
    <p:sldId id="2134805499" r:id="rId210"/>
    <p:sldId id="2134805495" r:id="rId211"/>
    <p:sldId id="2147470000" r:id="rId212"/>
    <p:sldId id="2147470001" r:id="rId213"/>
    <p:sldId id="2134805437" r:id="rId214"/>
    <p:sldId id="2134805431" r:id="rId215"/>
    <p:sldId id="2134805482" r:id="rId216"/>
    <p:sldId id="2134805483" r:id="rId217"/>
    <p:sldId id="2134805484" r:id="rId21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34805319"/>
            <p14:sldId id="361"/>
            <p14:sldId id="565"/>
          </p14:sldIdLst>
        </p14:section>
        <p14:section name="Agenda" id="{EC196F7E-C66C-4E6D-A529-F29F08460426}">
          <p14:sldIdLst>
            <p14:sldId id="331"/>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57"/>
            <p14:sldId id="2147469956"/>
            <p14:sldId id="2147469958"/>
            <p14:sldId id="2147470004"/>
            <p14:sldId id="2147470005"/>
            <p14:sldId id="2147470007"/>
            <p14:sldId id="2147470008"/>
            <p14:sldId id="2147470009"/>
            <p14:sldId id="2147470010"/>
            <p14:sldId id="2147470011"/>
            <p14:sldId id="2147470012"/>
            <p14:sldId id="2147470013"/>
            <p14:sldId id="2134805471"/>
            <p14:sldId id="2147470006"/>
            <p14:sldId id="2147470015"/>
            <p14:sldId id="2134805407"/>
            <p14:sldId id="2134805404"/>
            <p14:sldId id="2134805408"/>
            <p14:sldId id="2134805470"/>
            <p14:sldId id="2134805493"/>
            <p14:sldId id="2147469998"/>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5"/>
            <p14:sldId id="2134805485"/>
            <p14:sldId id="2134805486"/>
            <p14:sldId id="2134805487"/>
            <p14:sldId id="2134805488"/>
            <p14:sldId id="2134805457"/>
            <p14:sldId id="2134805458"/>
            <p14:sldId id="2147470016"/>
            <p14:sldId id="2147470017"/>
            <p14:sldId id="2134805454"/>
            <p14:sldId id="214746994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70003"/>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B4B2FADB-1391-4175-AFC9-02E3A99082C3}" v="7" dt="2022-03-09T17:29:31.68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627" autoAdjust="0"/>
  </p:normalViewPr>
  <p:slideViewPr>
    <p:cSldViewPr snapToGrid="0">
      <p:cViewPr varScale="1">
        <p:scale>
          <a:sx n="117" d="100"/>
          <a:sy n="117" d="100"/>
        </p:scale>
        <p:origin x="744"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microsoft.com/office/2016/11/relationships/changesInfo" Target="changesInfos/changesInfo1.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microsoft.com/office/2015/10/relationships/revisionInfo" Target="revisionInfo.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commentAuthors" Target="commentAuthors.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presProps" Target="presProp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viewProps" Target="viewProp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theme" Target="theme/theme1.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8/2022 9:08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8/2022 9:07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eatest value of a picture is when it forces us to notice what we never expected to see.” – John W. Tukey</a:t>
            </a:r>
          </a:p>
          <a:p>
            <a:endParaRPr lang="en-US" dirty="0"/>
          </a:p>
          <a:p>
            <a:r>
              <a:rPr lang="en-US" dirty="0"/>
              <a:t>In Tukey’s book – Exploratory Data Analysis – he mentioned to not just rely on numerical summaries of your data. Always try to visualize your data! If you don’t, you will miss features of that data and it will go unnotic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710087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7023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e Charts are good for parts of a whole – but not comparison. So, the real answer is – it depends!</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14686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87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different visuals for location. It depends on what you are trying to communicate – parts of a whole (United States is the majority), mapping, bar chart, …</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38440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26403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0: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86436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55</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6</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57</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58</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59</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60</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62</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3</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4</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5</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6</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0</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75</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76</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77</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78</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3</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9: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54.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9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9/18/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9/18/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9/18/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9/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9/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9/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9/18/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994"/>
          </a:xfrm>
          <a:noFill/>
        </p:spPr>
        <p:txBody>
          <a:bodyPr rtlCol="0"/>
          <a:lstStyle>
            <a:lvl1pPr marL="0" indent="0" algn="ctr" defTabSz="-18865642" rtl="0" eaLnBrk="1" fontAlgn="base" hangingPunct="1">
              <a:spcBef>
                <a:spcPct val="0"/>
              </a:spcBef>
              <a:spcAft>
                <a:spcPct val="0"/>
              </a:spcAft>
              <a:defRPr lang="en-US" sz="3808"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21745" y="1398905"/>
            <a:ext cx="11191399" cy="1925399"/>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6"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934949"/>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 id="2147485327"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18/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2.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5.xml"/><Relationship Id="rId4" Type="http://schemas.openxmlformats.org/officeDocument/2006/relationships/image" Target="../media/image162.png"/></Relationships>
</file>

<file path=ppt/slides/_rels/slide10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hyperlink" Target="https://www.nytimes.com/interactive/projects/london2012/results"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83.png"/><Relationship Id="rId7" Type="http://schemas.openxmlformats.org/officeDocument/2006/relationships/image" Target="../media/image86.wmf"/><Relationship Id="rId2" Type="http://schemas.openxmlformats.org/officeDocument/2006/relationships/notesSlide" Target="../notesSlides/notesSlide7.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8.xml"/><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2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78.gif"/><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40.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1.png"/><Relationship Id="rId1" Type="http://schemas.openxmlformats.org/officeDocument/2006/relationships/slideLayout" Target="../slideLayouts/slideLayout75.xml"/><Relationship Id="rId4" Type="http://schemas.openxmlformats.org/officeDocument/2006/relationships/image" Target="../media/image192.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microsoft.com/office/2007/relationships/hdphoto" Target="../media/hdphoto1.wdp"/><Relationship Id="rId4" Type="http://schemas.openxmlformats.org/officeDocument/2006/relationships/image" Target="../media/image92.png"/><Relationship Id="rId9" Type="http://schemas.openxmlformats.org/officeDocument/2006/relationships/image" Target="../media/image97.png"/></Relationships>
</file>

<file path=ppt/slides/_rels/slide150.xml.rels><?xml version="1.0" encoding="UTF-8" standalone="yes"?>
<Relationships xmlns="http://schemas.openxmlformats.org/package/2006/relationships"><Relationship Id="rId2" Type="http://schemas.openxmlformats.org/officeDocument/2006/relationships/image" Target="../media/image193.gif"/><Relationship Id="rId1" Type="http://schemas.openxmlformats.org/officeDocument/2006/relationships/slideLayout" Target="../slideLayouts/slideLayout75.xml"/></Relationships>
</file>

<file path=ppt/slides/_rels/slide151.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5.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59.xml"/><Relationship Id="rId1" Type="http://schemas.openxmlformats.org/officeDocument/2006/relationships/slideLayout" Target="../slideLayouts/slideLayout53.xml"/></Relationships>
</file>

<file path=ppt/slides/_rels/slide156.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0.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8.jpeg"/></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9.jpeg"/></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0.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4.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5.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62.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6.xml"/><Relationship Id="rId1" Type="http://schemas.openxmlformats.org/officeDocument/2006/relationships/slideLayout" Target="../slideLayouts/slideLayout53.xml"/></Relationships>
</file>

<file path=ppt/slides/_rels/slide163.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8.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7.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71.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68.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69.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2.xml"/><Relationship Id="rId1" Type="http://schemas.openxmlformats.org/officeDocument/2006/relationships/slideLayout" Target="../slideLayouts/slideLayout53.xml"/></Relationships>
</file>

<file path=ppt/slides/_rels/slide171.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jpeg"/><Relationship Id="rId1" Type="http://schemas.openxmlformats.org/officeDocument/2006/relationships/slideLayout" Target="../slideLayouts/slideLayout57.xml"/></Relationships>
</file>

<file path=ppt/slides/_rels/slide172.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5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4.xml.rels><?xml version="1.0" encoding="UTF-8" standalone="yes"?>
<Relationships xmlns="http://schemas.openxmlformats.org/package/2006/relationships"><Relationship Id="rId2" Type="http://schemas.openxmlformats.org/officeDocument/2006/relationships/image" Target="../media/image206.jpeg"/><Relationship Id="rId1" Type="http://schemas.openxmlformats.org/officeDocument/2006/relationships/slideLayout" Target="../slideLayouts/slideLayout55.xml"/></Relationships>
</file>

<file path=ppt/slides/_rels/slide175.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3.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74.xml"/><Relationship Id="rId1" Type="http://schemas.openxmlformats.org/officeDocument/2006/relationships/slideLayout" Target="../slideLayouts/slideLayout57.xml"/></Relationships>
</file>

<file path=ppt/slides/_rels/slide17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5.xml"/><Relationship Id="rId1" Type="http://schemas.openxmlformats.org/officeDocument/2006/relationships/slideLayout" Target="../slideLayouts/slideLayout57.xml"/></Relationships>
</file>

<file path=ppt/slides/_rels/slide17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76.xml"/><Relationship Id="rId1" Type="http://schemas.openxmlformats.org/officeDocument/2006/relationships/slideLayout" Target="../slideLayouts/slideLayout74.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181.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7.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10.png"/></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78.xml"/><Relationship Id="rId1" Type="http://schemas.openxmlformats.org/officeDocument/2006/relationships/slideLayout" Target="../slideLayouts/slideLayout75.xml"/><Relationship Id="rId4" Type="http://schemas.openxmlformats.org/officeDocument/2006/relationships/image" Target="../media/image212.png"/></Relationships>
</file>

<file path=ppt/slides/_rels/slide184.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75.xml"/></Relationships>
</file>

<file path=ppt/slides/_rels/slide185.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75.xml"/></Relationships>
</file>

<file path=ppt/slides/_rels/slide186.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5.xml"/></Relationships>
</file>

<file path=ppt/slides/_rels/slide187.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5.xml"/></Relationships>
</file>

<file path=ppt/slides/_rels/slide188.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96.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97.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98.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99.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201.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202.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4.bin"/><Relationship Id="rId1" Type="http://schemas.openxmlformats.org/officeDocument/2006/relationships/slideLayout" Target="../slideLayouts/slideLayout75.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6.svg"/><Relationship Id="rId3" Type="http://schemas.openxmlformats.org/officeDocument/2006/relationships/image" Target="../media/image104.svg"/><Relationship Id="rId7" Type="http://schemas.openxmlformats.org/officeDocument/2006/relationships/image" Target="../media/image113.svg"/><Relationship Id="rId12" Type="http://schemas.openxmlformats.org/officeDocument/2006/relationships/image" Target="../media/image105.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7.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07.png"/><Relationship Id="rId9" Type="http://schemas.openxmlformats.org/officeDocument/2006/relationships/image" Target="../media/image115.sv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Layout" Target="../slideLayouts/slideLayout74.xml"/><Relationship Id="rId4" Type="http://schemas.openxmlformats.org/officeDocument/2006/relationships/image" Target="../media/image119.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40.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notesSlide" Target="../notesSlides/notesSlide27.xml"/><Relationship Id="rId16" Type="http://schemas.openxmlformats.org/officeDocument/2006/relationships/image" Target="../media/image133.svg"/><Relationship Id="rId1" Type="http://schemas.openxmlformats.org/officeDocument/2006/relationships/slideLayout" Target="../slideLayouts/slideLayout536.xml"/><Relationship Id="rId6" Type="http://schemas.openxmlformats.org/officeDocument/2006/relationships/image" Target="../media/image123.sv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21.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3.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2.png"/><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4.pn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2.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Power Platform Conference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Visual Encoding</a:t>
            </a:r>
          </a:p>
        </p:txBody>
      </p:sp>
      <p:sp>
        <p:nvSpPr>
          <p:cNvPr id="4" name="TextBox 3">
            <a:extLst>
              <a:ext uri="{FF2B5EF4-FFF2-40B4-BE49-F238E27FC236}">
                <a16:creationId xmlns:a16="http://schemas.microsoft.com/office/drawing/2014/main" id="{D3245058-7515-853D-4580-09A59143DED8}"/>
              </a:ext>
            </a:extLst>
          </p:cNvPr>
          <p:cNvSpPr txBox="1"/>
          <p:nvPr/>
        </p:nvSpPr>
        <p:spPr>
          <a:xfrm>
            <a:off x="599982" y="1404257"/>
            <a:ext cx="10393486" cy="307777"/>
          </a:xfrm>
          <a:prstGeom prst="rect">
            <a:avLst/>
          </a:prstGeom>
          <a:noFill/>
        </p:spPr>
        <p:txBody>
          <a:bodyPr wrap="none" lIns="0" tIns="0" rIns="0" bIns="0" rtlCol="0">
            <a:spAutoFit/>
          </a:bodyPr>
          <a:lstStyle/>
          <a:p>
            <a:pPr algn="l"/>
            <a:r>
              <a:rPr lang="en-US" sz="2000" dirty="0"/>
              <a:t>For visualizations, it’s the idea of mapping data onto attributes of an object. Typically shapes.</a:t>
            </a:r>
          </a:p>
        </p:txBody>
      </p:sp>
      <p:sp>
        <p:nvSpPr>
          <p:cNvPr id="5" name="TextBox 4">
            <a:extLst>
              <a:ext uri="{FF2B5EF4-FFF2-40B4-BE49-F238E27FC236}">
                <a16:creationId xmlns:a16="http://schemas.microsoft.com/office/drawing/2014/main" id="{A952AC9B-F0D3-E693-7054-6F0A32C0BA58}"/>
              </a:ext>
            </a:extLst>
          </p:cNvPr>
          <p:cNvSpPr txBox="1"/>
          <p:nvPr/>
        </p:nvSpPr>
        <p:spPr>
          <a:xfrm>
            <a:off x="2454874" y="2084962"/>
            <a:ext cx="479298" cy="307777"/>
          </a:xfrm>
          <a:prstGeom prst="rect">
            <a:avLst/>
          </a:prstGeom>
          <a:noFill/>
        </p:spPr>
        <p:txBody>
          <a:bodyPr wrap="none" lIns="0" tIns="0" rIns="0" bIns="0" rtlCol="0">
            <a:spAutoFit/>
          </a:bodyPr>
          <a:lstStyle/>
          <a:p>
            <a:pPr algn="l"/>
            <a:r>
              <a:rPr lang="en-US" sz="2000" b="1" dirty="0"/>
              <a:t>Size</a:t>
            </a:r>
          </a:p>
        </p:txBody>
      </p:sp>
      <p:sp>
        <p:nvSpPr>
          <p:cNvPr id="6" name="TextBox 5">
            <a:extLst>
              <a:ext uri="{FF2B5EF4-FFF2-40B4-BE49-F238E27FC236}">
                <a16:creationId xmlns:a16="http://schemas.microsoft.com/office/drawing/2014/main" id="{5CFFAE8C-CC5D-3C37-59F7-31EDDFE76B2F}"/>
              </a:ext>
            </a:extLst>
          </p:cNvPr>
          <p:cNvSpPr txBox="1"/>
          <p:nvPr/>
        </p:nvSpPr>
        <p:spPr>
          <a:xfrm>
            <a:off x="2313073" y="4071909"/>
            <a:ext cx="762901" cy="307777"/>
          </a:xfrm>
          <a:prstGeom prst="rect">
            <a:avLst/>
          </a:prstGeom>
          <a:noFill/>
        </p:spPr>
        <p:txBody>
          <a:bodyPr wrap="none" lIns="0" tIns="0" rIns="0" bIns="0" rtlCol="0">
            <a:spAutoFit/>
          </a:bodyPr>
          <a:lstStyle/>
          <a:p>
            <a:pPr algn="l"/>
            <a:r>
              <a:rPr lang="en-US" sz="2000" b="1" dirty="0"/>
              <a:t>Colors</a:t>
            </a:r>
          </a:p>
        </p:txBody>
      </p:sp>
      <p:sp>
        <p:nvSpPr>
          <p:cNvPr id="7" name="TextBox 6">
            <a:extLst>
              <a:ext uri="{FF2B5EF4-FFF2-40B4-BE49-F238E27FC236}">
                <a16:creationId xmlns:a16="http://schemas.microsoft.com/office/drawing/2014/main" id="{2B05F6F9-1C9A-86B4-F571-F54DD9ABD17C}"/>
              </a:ext>
            </a:extLst>
          </p:cNvPr>
          <p:cNvSpPr txBox="1"/>
          <p:nvPr/>
        </p:nvSpPr>
        <p:spPr>
          <a:xfrm>
            <a:off x="2414510" y="5673143"/>
            <a:ext cx="560025" cy="307777"/>
          </a:xfrm>
          <a:prstGeom prst="rect">
            <a:avLst/>
          </a:prstGeom>
          <a:noFill/>
        </p:spPr>
        <p:txBody>
          <a:bodyPr wrap="none" lIns="0" tIns="0" rIns="0" bIns="0" rtlCol="0">
            <a:spAutoFit/>
          </a:bodyPr>
          <a:lstStyle/>
          <a:p>
            <a:pPr algn="l"/>
            <a:r>
              <a:rPr lang="en-US" sz="2000" b="1" dirty="0"/>
              <a:t>Area</a:t>
            </a:r>
          </a:p>
        </p:txBody>
      </p:sp>
      <p:pic>
        <p:nvPicPr>
          <p:cNvPr id="9" name="Picture 8">
            <a:extLst>
              <a:ext uri="{FF2B5EF4-FFF2-40B4-BE49-F238E27FC236}">
                <a16:creationId xmlns:a16="http://schemas.microsoft.com/office/drawing/2014/main" id="{FA672D60-10ED-E068-FC12-E8A0CFD52B85}"/>
              </a:ext>
            </a:extLst>
          </p:cNvPr>
          <p:cNvPicPr>
            <a:picLocks noChangeAspect="1"/>
          </p:cNvPicPr>
          <p:nvPr/>
        </p:nvPicPr>
        <p:blipFill>
          <a:blip r:embed="rId2"/>
          <a:stretch>
            <a:fillRect/>
          </a:stretch>
        </p:blipFill>
        <p:spPr>
          <a:xfrm>
            <a:off x="4385620" y="3699642"/>
            <a:ext cx="6047619" cy="1380952"/>
          </a:xfrm>
          <a:prstGeom prst="rect">
            <a:avLst/>
          </a:prstGeom>
        </p:spPr>
      </p:pic>
      <p:pic>
        <p:nvPicPr>
          <p:cNvPr id="11" name="Picture 10">
            <a:extLst>
              <a:ext uri="{FF2B5EF4-FFF2-40B4-BE49-F238E27FC236}">
                <a16:creationId xmlns:a16="http://schemas.microsoft.com/office/drawing/2014/main" id="{F819E8F6-4F55-21F7-9B84-30A385EB97C6}"/>
              </a:ext>
            </a:extLst>
          </p:cNvPr>
          <p:cNvPicPr>
            <a:picLocks noChangeAspect="1"/>
          </p:cNvPicPr>
          <p:nvPr/>
        </p:nvPicPr>
        <p:blipFill>
          <a:blip r:embed="rId3"/>
          <a:stretch>
            <a:fillRect/>
          </a:stretch>
        </p:blipFill>
        <p:spPr>
          <a:xfrm>
            <a:off x="5558205" y="1906789"/>
            <a:ext cx="3702447" cy="1754083"/>
          </a:xfrm>
          <a:prstGeom prst="rect">
            <a:avLst/>
          </a:prstGeom>
        </p:spPr>
      </p:pic>
      <p:pic>
        <p:nvPicPr>
          <p:cNvPr id="13" name="Picture 12">
            <a:extLst>
              <a:ext uri="{FF2B5EF4-FFF2-40B4-BE49-F238E27FC236}">
                <a16:creationId xmlns:a16="http://schemas.microsoft.com/office/drawing/2014/main" id="{3CDB04FD-43DC-1E2E-0D3F-623C001AAD05}"/>
              </a:ext>
            </a:extLst>
          </p:cNvPr>
          <p:cNvPicPr>
            <a:picLocks noChangeAspect="1"/>
          </p:cNvPicPr>
          <p:nvPr/>
        </p:nvPicPr>
        <p:blipFill>
          <a:blip r:embed="rId4"/>
          <a:stretch>
            <a:fillRect/>
          </a:stretch>
        </p:blipFill>
        <p:spPr>
          <a:xfrm>
            <a:off x="5372447" y="5080594"/>
            <a:ext cx="4375711" cy="1635674"/>
          </a:xfrm>
          <a:prstGeom prst="rect">
            <a:avLst/>
          </a:prstGeom>
        </p:spPr>
      </p:pic>
    </p:spTree>
    <p:extLst>
      <p:ext uri="{BB962C8B-B14F-4D97-AF65-F5344CB8AC3E}">
        <p14:creationId xmlns:p14="http://schemas.microsoft.com/office/powerpoint/2010/main" val="4111129342"/>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A1DF6C-B8B8-6382-D74D-60B69CE1FD23}"/>
              </a:ext>
            </a:extLst>
          </p:cNvPr>
          <p:cNvPicPr>
            <a:picLocks noChangeAspect="1"/>
          </p:cNvPicPr>
          <p:nvPr/>
        </p:nvPicPr>
        <p:blipFill>
          <a:blip r:embed="rId3"/>
          <a:stretch>
            <a:fillRect/>
          </a:stretch>
        </p:blipFill>
        <p:spPr>
          <a:xfrm>
            <a:off x="-1" y="0"/>
            <a:ext cx="12405275" cy="5829300"/>
          </a:xfrm>
          <a:prstGeom prst="rect">
            <a:avLst/>
          </a:prstGeom>
        </p:spPr>
      </p:pic>
      <p:sp>
        <p:nvSpPr>
          <p:cNvPr id="6" name="TextBox 5">
            <a:extLst>
              <a:ext uri="{FF2B5EF4-FFF2-40B4-BE49-F238E27FC236}">
                <a16:creationId xmlns:a16="http://schemas.microsoft.com/office/drawing/2014/main" id="{B31F7F4A-2181-AF1F-70FD-B5FFC01F50E7}"/>
              </a:ext>
            </a:extLst>
          </p:cNvPr>
          <p:cNvSpPr txBox="1"/>
          <p:nvPr/>
        </p:nvSpPr>
        <p:spPr>
          <a:xfrm>
            <a:off x="4718957" y="6368142"/>
            <a:ext cx="7425302" cy="307777"/>
          </a:xfrm>
          <a:prstGeom prst="rect">
            <a:avLst/>
          </a:prstGeom>
          <a:noFill/>
        </p:spPr>
        <p:txBody>
          <a:bodyPr wrap="none" lIns="0" tIns="0" rIns="0" bIns="0" rtlCol="0">
            <a:spAutoFit/>
          </a:bodyPr>
          <a:lstStyle/>
          <a:p>
            <a:pPr algn="l"/>
            <a:r>
              <a:rPr lang="en-US" sz="2000" dirty="0">
                <a:hlinkClick r:id="rId4"/>
              </a:rPr>
              <a:t>https://www.nytimes.com/interactive/projects/london2012/results</a:t>
            </a:r>
            <a:endParaRPr lang="en-US" sz="2000" dirty="0"/>
          </a:p>
        </p:txBody>
      </p:sp>
    </p:spTree>
    <p:extLst>
      <p:ext uri="{BB962C8B-B14F-4D97-AF65-F5344CB8AC3E}">
        <p14:creationId xmlns:p14="http://schemas.microsoft.com/office/powerpoint/2010/main" val="248321455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1015663"/>
          </a:xfrm>
        </p:spPr>
        <p:txBody>
          <a:bodyPr/>
          <a:lstStyle/>
          <a:p>
            <a:pPr marL="0" indent="0" algn="ctr">
              <a:buNone/>
            </a:pPr>
            <a:r>
              <a:rPr lang="en-US" sz="6600" dirty="0"/>
              <a:t>https://aka.ms/yourthoughts</a:t>
            </a:r>
          </a:p>
        </p:txBody>
      </p:sp>
    </p:spTree>
    <p:extLst>
      <p:ext uri="{BB962C8B-B14F-4D97-AF65-F5344CB8AC3E}">
        <p14:creationId xmlns:p14="http://schemas.microsoft.com/office/powerpoint/2010/main" val="2337724613"/>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29E6F1-B579-7219-99D6-D94BFB94140C}"/>
              </a:ext>
            </a:extLst>
          </p:cNvPr>
          <p:cNvSpPr txBox="1"/>
          <p:nvPr/>
        </p:nvSpPr>
        <p:spPr>
          <a:xfrm>
            <a:off x="5555404" y="3189485"/>
            <a:ext cx="1324080" cy="307777"/>
          </a:xfrm>
          <a:prstGeom prst="rect">
            <a:avLst/>
          </a:prstGeom>
          <a:noFill/>
        </p:spPr>
        <p:txBody>
          <a:bodyPr wrap="none" lIns="0" tIns="0" rIns="0" bIns="0" rtlCol="0">
            <a:spAutoFit/>
          </a:bodyPr>
          <a:lstStyle/>
          <a:p>
            <a:pPr algn="l"/>
            <a:r>
              <a:rPr lang="en-US" sz="2000" dirty="0"/>
              <a:t>Placeholder</a:t>
            </a:r>
          </a:p>
        </p:txBody>
      </p:sp>
    </p:spTree>
    <p:extLst>
      <p:ext uri="{BB962C8B-B14F-4D97-AF65-F5344CB8AC3E}">
        <p14:creationId xmlns:p14="http://schemas.microsoft.com/office/powerpoint/2010/main" val="4049856942"/>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923330"/>
          </a:xfrm>
        </p:spPr>
        <p:txBody>
          <a:bodyPr/>
          <a:lstStyle/>
          <a:p>
            <a:pPr marL="0" indent="0" algn="ctr">
              <a:buNone/>
            </a:pPr>
            <a:r>
              <a:rPr lang="en-US" sz="6000" dirty="0"/>
              <a:t>https://aka.ms/whereareyoufrom</a:t>
            </a:r>
          </a:p>
        </p:txBody>
      </p:sp>
    </p:spTree>
    <p:extLst>
      <p:ext uri="{BB962C8B-B14F-4D97-AF65-F5344CB8AC3E}">
        <p14:creationId xmlns:p14="http://schemas.microsoft.com/office/powerpoint/2010/main" val="413153904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29E6F1-B579-7219-99D6-D94BFB94140C}"/>
              </a:ext>
            </a:extLst>
          </p:cNvPr>
          <p:cNvSpPr txBox="1"/>
          <p:nvPr/>
        </p:nvSpPr>
        <p:spPr>
          <a:xfrm>
            <a:off x="5555404" y="3189485"/>
            <a:ext cx="1324080" cy="307777"/>
          </a:xfrm>
          <a:prstGeom prst="rect">
            <a:avLst/>
          </a:prstGeom>
          <a:noFill/>
        </p:spPr>
        <p:txBody>
          <a:bodyPr wrap="none" lIns="0" tIns="0" rIns="0" bIns="0" rtlCol="0">
            <a:spAutoFit/>
          </a:bodyPr>
          <a:lstStyle/>
          <a:p>
            <a:pPr algn="l"/>
            <a:r>
              <a:rPr lang="en-US" sz="2000" dirty="0"/>
              <a:t>Placeholder</a:t>
            </a:r>
          </a:p>
        </p:txBody>
      </p:sp>
    </p:spTree>
    <p:extLst>
      <p:ext uri="{BB962C8B-B14F-4D97-AF65-F5344CB8AC3E}">
        <p14:creationId xmlns:p14="http://schemas.microsoft.com/office/powerpoint/2010/main" val="122107237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113458113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882698997"/>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182048231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78"/>
                                        </p:tgtEl>
                                        <p:attrNameLst>
                                          <p:attrName>style.visibility</p:attrName>
                                        </p:attrNameLst>
                                      </p:cBhvr>
                                      <p:to>
                                        <p:strVal val="visible"/>
                                      </p:to>
                                    </p:set>
                                    <p:anim calcmode="lin" valueType="num">
                                      <p:cBhvr additive="base">
                                        <p:cTn id="7" dur="500" fill="hold"/>
                                        <p:tgtEl>
                                          <p:spTgt spid="562178"/>
                                        </p:tgtEl>
                                        <p:attrNameLst>
                                          <p:attrName>ppt_x</p:attrName>
                                        </p:attrNameLst>
                                      </p:cBhvr>
                                      <p:tavLst>
                                        <p:tav tm="0">
                                          <p:val>
                                            <p:strVal val="#ppt_x"/>
                                          </p:val>
                                        </p:tav>
                                        <p:tav tm="100000">
                                          <p:val>
                                            <p:strVal val="#ppt_x"/>
                                          </p:val>
                                        </p:tav>
                                      </p:tavLst>
                                    </p:anim>
                                    <p:anim calcmode="lin" valueType="num">
                                      <p:cBhvr additive="base">
                                        <p:cTn id="8"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Filter pane or Slic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290003"/>
          </a:xfrm>
        </p:spPr>
        <p:txBody>
          <a:bodyPr/>
          <a:lstStyle/>
          <a:p>
            <a:r>
              <a:rPr lang="en-US" dirty="0"/>
              <a:t>Filter pane</a:t>
            </a:r>
          </a:p>
          <a:p>
            <a:pPr lvl="1"/>
            <a:r>
              <a:rPr lang="en-US" dirty="0"/>
              <a:t>Advantages; same location, advanced filtering, better performance</a:t>
            </a:r>
          </a:p>
          <a:p>
            <a:pPr lvl="1"/>
            <a:r>
              <a:rPr lang="en-US" dirty="0"/>
              <a:t>Disadvantages; less design flexibility, more difficult to see which filters are applied</a:t>
            </a:r>
          </a:p>
          <a:p>
            <a:r>
              <a:rPr lang="en-US"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5267" y="2876668"/>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5647" y="4411339"/>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pPr marL="0" indent="0">
              <a:buNone/>
            </a:pPr>
            <a:endParaRPr lang="en-US" dirty="0"/>
          </a:p>
          <a:p>
            <a:pPr marL="0" indent="0">
              <a:buNone/>
            </a:pPr>
            <a:endParaRPr lang="en-US" b="1" dirty="0"/>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120244"/>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5 second rule</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758668" cy="307777"/>
          </a:xfrm>
          <a:prstGeom prst="rect">
            <a:avLst/>
          </a:prstGeom>
          <a:noFill/>
        </p:spPr>
        <p:txBody>
          <a:bodyPr wrap="none" lIns="0" tIns="0" rIns="0" bIns="0" rtlCol="0">
            <a:spAutoFit/>
          </a:bodyPr>
          <a:lstStyle/>
          <a:p>
            <a:pPr algn="l"/>
            <a:r>
              <a:rPr lang="en-US" sz="2000" dirty="0"/>
              <a:t>5 seconds is the general acceptance for a report page load. Anything over that and you lose your viewer</a:t>
            </a:r>
          </a:p>
        </p:txBody>
      </p:sp>
      <p:pic>
        <p:nvPicPr>
          <p:cNvPr id="1026" name="Picture 2" descr="See the source image">
            <a:extLst>
              <a:ext uri="{FF2B5EF4-FFF2-40B4-BE49-F238E27FC236}">
                <a16:creationId xmlns:a16="http://schemas.microsoft.com/office/drawing/2014/main" id="{02B7210E-5CFF-8F53-3D43-AB78C47A62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4092" y="2752007"/>
            <a:ext cx="5286703" cy="37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93925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Performance Analyzer is your friend</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239464" cy="738664"/>
          </a:xfrm>
          <a:prstGeom prst="rect">
            <a:avLst/>
          </a:prstGeom>
          <a:noFill/>
        </p:spPr>
        <p:txBody>
          <a:bodyPr wrap="square" lIns="0" tIns="0" rIns="0" bIns="0" rtlCol="0">
            <a:spAutoFit/>
          </a:bodyPr>
          <a:lstStyle/>
          <a:p>
            <a:pPr algn="l"/>
            <a:r>
              <a:rPr lang="en-US" sz="2400" dirty="0"/>
              <a:t>Validate with performance analyzer! If it doesn’t perform in Power BI Desktop, don’t expect it to in the service!</a:t>
            </a:r>
          </a:p>
        </p:txBody>
      </p:sp>
      <p:pic>
        <p:nvPicPr>
          <p:cNvPr id="4" name="Picture 3">
            <a:extLst>
              <a:ext uri="{FF2B5EF4-FFF2-40B4-BE49-F238E27FC236}">
                <a16:creationId xmlns:a16="http://schemas.microsoft.com/office/drawing/2014/main" id="{C1DFDE85-F824-E564-5CA0-990926C83524}"/>
              </a:ext>
            </a:extLst>
          </p:cNvPr>
          <p:cNvPicPr>
            <a:picLocks noChangeAspect="1"/>
          </p:cNvPicPr>
          <p:nvPr/>
        </p:nvPicPr>
        <p:blipFill>
          <a:blip r:embed="rId2"/>
          <a:stretch>
            <a:fillRect/>
          </a:stretch>
        </p:blipFill>
        <p:spPr>
          <a:xfrm>
            <a:off x="3831977" y="2601442"/>
            <a:ext cx="4770933" cy="3987137"/>
          </a:xfrm>
          <a:prstGeom prst="rect">
            <a:avLst/>
          </a:prstGeom>
        </p:spPr>
      </p:pic>
      <p:sp>
        <p:nvSpPr>
          <p:cNvPr id="5" name="Rectangle 4">
            <a:extLst>
              <a:ext uri="{FF2B5EF4-FFF2-40B4-BE49-F238E27FC236}">
                <a16:creationId xmlns:a16="http://schemas.microsoft.com/office/drawing/2014/main" id="{CCABC2D9-B1ED-F28B-0335-AECEB4B724D8}"/>
              </a:ext>
            </a:extLst>
          </p:cNvPr>
          <p:cNvSpPr/>
          <p:nvPr/>
        </p:nvSpPr>
        <p:spPr bwMode="auto">
          <a:xfrm>
            <a:off x="7943850" y="4577199"/>
            <a:ext cx="571500" cy="185477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316738"/>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51795"/>
          </a:xfrm>
        </p:spPr>
        <p:txBody>
          <a:bodyPr/>
          <a:lstStyle/>
          <a:p>
            <a:r>
              <a:rPr lang="en-US" dirty="0"/>
              <a:t>Testing </a:t>
            </a:r>
          </a:p>
          <a:p>
            <a:pPr lvl="1"/>
            <a:r>
              <a:rPr lang="en-US" dirty="0"/>
              <a:t>User acceptance test, test on different interfaces (Service, mobile app, embedded), Performance!</a:t>
            </a:r>
          </a:p>
          <a:p>
            <a:r>
              <a:rPr lang="en-US" dirty="0"/>
              <a:t>Prepare for publication</a:t>
            </a:r>
          </a:p>
          <a:p>
            <a:pPr lvl="1"/>
            <a:r>
              <a:rPr lang="en-US" dirty="0"/>
              <a:t>Set intended initial experience, e.g., define first page, reset filters and slicers, visual drill state, sort orders, and button state</a:t>
            </a:r>
          </a:p>
          <a:p>
            <a:r>
              <a:rPr lang="en-US" dirty="0"/>
              <a:t>Provide support </a:t>
            </a:r>
          </a:p>
          <a:p>
            <a:pPr lvl="1"/>
            <a:r>
              <a:rPr lang="en-US" dirty="0"/>
              <a:t>Training, built-in assistance, documentation</a:t>
            </a:r>
          </a:p>
          <a:p>
            <a:r>
              <a:rPr lang="en-US" dirty="0"/>
              <a:t>Manage change </a:t>
            </a:r>
          </a:p>
          <a:p>
            <a:pPr lvl="1"/>
            <a:r>
              <a:rPr lang="en-US" dirty="0"/>
              <a:t>Often, it's better to publish a new report that includes many updates than release smaller incremental changes, consider using Deployment pipelines</a:t>
            </a:r>
          </a:p>
          <a:p>
            <a:pPr marL="0" indent="0">
              <a:buNone/>
            </a:pPr>
            <a:endParaRPr lang="en-US" dirty="0"/>
          </a:p>
        </p:txBody>
      </p:sp>
    </p:spTree>
    <p:extLst>
      <p:ext uri="{BB962C8B-B14F-4D97-AF65-F5344CB8AC3E}">
        <p14:creationId xmlns:p14="http://schemas.microsoft.com/office/powerpoint/2010/main" val="3948095550"/>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Want more?</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r>
              <a:rPr lang="en-US" sz="3200" dirty="0"/>
              <a:t>. </a:t>
            </a:r>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5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6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6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1492071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358689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1673778324"/>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IN" sz="1400" dirty="0">
                          <a:solidFill>
                            <a:schemeClr val="tx1"/>
                          </a:solidFill>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91</TotalTime>
  <Words>13671</Words>
  <Application>Microsoft Office PowerPoint</Application>
  <PresentationFormat>Custom</PresentationFormat>
  <Paragraphs>2926</Paragraphs>
  <Slides>203</Slides>
  <Notes>78</Notes>
  <HiddenSlides>25</HiddenSlides>
  <MMClips>5</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203</vt:i4>
      </vt:variant>
    </vt:vector>
  </HeadingPairs>
  <TitlesOfParts>
    <vt:vector size="236"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Power Platform Conference Session resources</vt:lpstr>
      <vt:lpstr>THE DAY AFTER *DASHBOARD  IN A DAY * Technically it was a report</vt:lpstr>
      <vt:lpstr>PowerPoint Presentation</vt:lpstr>
      <vt:lpstr>Session Feedback Surveys</vt:lpstr>
      <vt:lpstr>Agenda (times are approximate and will be fluid with the class)</vt:lpstr>
      <vt:lpstr>A retrospective…</vt:lpstr>
      <vt:lpstr>The Evolution of BI</vt:lpstr>
      <vt:lpstr>Power BI  monthly active usage</vt:lpstr>
      <vt:lpstr>PowerPoint Presentation</vt:lpstr>
      <vt:lpstr>PowerPoint Presentation</vt:lpstr>
      <vt:lpstr>PowerPoint Presentation</vt:lpstr>
      <vt:lpstr>PowerPoint Presentation</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Visual Encoding</vt:lpstr>
      <vt:lpstr>PowerPoint Presentation</vt:lpstr>
      <vt:lpstr>We know it when we see it…</vt:lpstr>
      <vt:lpstr>We know it when we see it…</vt:lpstr>
      <vt:lpstr>We know it when we see it…</vt:lpstr>
      <vt:lpstr>PowerPoint Presentation</vt:lpstr>
      <vt:lpstr>PowerPoint Presentation</vt:lpstr>
      <vt:lpstr>PowerPoint Presentation</vt:lpstr>
      <vt:lpstr>PowerPoint Presentation</vt:lpstr>
      <vt:lpstr>Visual Selection</vt:lpstr>
      <vt:lpstr>PowerPoint Presentation</vt:lpstr>
      <vt:lpstr>PowerPoint Presentation</vt:lpstr>
      <vt:lpstr>Report Layout</vt:lpstr>
      <vt:lpstr>Report Layout</vt:lpstr>
      <vt:lpstr>Report Layout</vt:lpstr>
      <vt:lpstr>Report Layout</vt:lpstr>
      <vt:lpstr>7 Steps In Report Building</vt:lpstr>
      <vt:lpstr>Filtering</vt:lpstr>
      <vt:lpstr>Advanced Filtering Techniques</vt:lpstr>
      <vt:lpstr>Filter pane or Slic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Report Design Tools</vt:lpstr>
      <vt:lpstr>Report Design Tools</vt:lpstr>
      <vt:lpstr>Report Design Tools</vt:lpstr>
      <vt:lpstr>Report Design Tools</vt:lpstr>
      <vt:lpstr>Report Design Tools</vt:lpstr>
      <vt:lpstr>Mobile Experience</vt:lpstr>
      <vt:lpstr>Design Reports For Accessibility</vt:lpstr>
      <vt:lpstr>5 second rule</vt:lpstr>
      <vt:lpstr>Performance Analyzer is your friend</vt:lpstr>
      <vt:lpstr>Before You Publish The Report</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 Surveys</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dam Saxton</cp:lastModifiedBy>
  <cp:revision>9</cp:revision>
  <dcterms:modified xsi:type="dcterms:W3CDTF">2022-09-18T15: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